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65" y="8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12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12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2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December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3ced48dfb8fda4c8497c8c5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EC50246-46E9-45DB-81A2-EBD4EA1A8CA8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19351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1287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NUTZEN UND VORTEILE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BESCHREIBUNG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/>
              <a:t>Geschützter 7-bar-Druckluftverbrauch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5"/>
            <a:ext cx="7997825" cy="307975"/>
          </a:xfrm>
        </p:spPr>
        <p:txBody>
          <a:bodyPr/>
          <a:lstStyle/>
          <a:p>
            <a:r>
              <a:rPr lang="de-DE"/>
              <a:t>Erfassung von Luftlecks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56541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utzen: Effizienz, </a:t>
            </a:r>
            <a:r>
              <a:rPr lang="de-CH" altLang="fr-FR" sz="800" dirty="0">
                <a:solidFill>
                  <a:srgbClr val="000000"/>
                </a:solidFill>
              </a:rPr>
              <a:t>Kostenoptimierung</a:t>
            </a:r>
            <a:endParaRPr kumimoji="0" lang="de-DE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stattung:  Universal-Blasmaschine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atalog-Code: 1109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27392"/>
            <a:ext cx="3823487" cy="17358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2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Tragbares Gehäuse mit integrierten Anschlüssen, Armaturen und Schläuchen sowie Anweisungen in mehreren Sprachen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200" b="0" i="0" u="none" strike="noStrike" cap="none" normalizeH="0" baseline="0" noProof="0" dirty="0" err="1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Leckmessgerät</a:t>
            </a:r>
            <a:r>
              <a:rPr kumimoji="0" lang="de-DE" sz="12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 10/100 Liter mit zweifacher Anzeige inkl. Messung des zugehörigen Drucks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2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Einschließlich Akku zur Vereinfachung des Messprozesses</a:t>
            </a:r>
          </a:p>
        </p:txBody>
      </p:sp>
      <p:sp>
        <p:nvSpPr>
          <p:cNvPr id="25" name="Text Box 11">
            <a:extLst>
              <a:ext uri="{FF2B5EF4-FFF2-40B4-BE49-F238E27FC236}">
                <a16:creationId xmlns:a16="http://schemas.microsoft.com/office/drawing/2014/main" id="{7D3F4717-4C3B-460A-9886-77A76EB4A6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8413" y="2259382"/>
            <a:ext cx="3552431" cy="1915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Ermöglicht die Bestimmung der Energieverluste der 7-bar-Druckluftleitung der Blasmaschin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48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Einfache Verwendung ohne intrusive Eingriffe</a:t>
            </a:r>
          </a:p>
        </p:txBody>
      </p:sp>
      <p:pic>
        <p:nvPicPr>
          <p:cNvPr id="15" name="Picture 23">
            <a:extLst>
              <a:ext uri="{FF2B5EF4-FFF2-40B4-BE49-F238E27FC236}">
                <a16:creationId xmlns:a16="http://schemas.microsoft.com/office/drawing/2014/main" id="{867F4FEA-D9ED-4200-91F8-78F65B8CD9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925" y="4099846"/>
            <a:ext cx="1619036" cy="1520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4C0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9633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68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Geschützter 7-bar-Druckluftverbrauch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8</cp:revision>
  <dcterms:created xsi:type="dcterms:W3CDTF">2018-02-10T17:04:39Z</dcterms:created>
  <dcterms:modified xsi:type="dcterms:W3CDTF">2018-12-12T15:5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